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15"/>
  </p:notesMasterIdLst>
  <p:handoutMasterIdLst>
    <p:handoutMasterId r:id="rId16"/>
  </p:handoutMasterIdLst>
  <p:sldIdLst>
    <p:sldId id="256" r:id="rId6"/>
    <p:sldId id="693" r:id="rId7"/>
    <p:sldId id="740" r:id="rId8"/>
    <p:sldId id="741" r:id="rId9"/>
    <p:sldId id="743" r:id="rId10"/>
    <p:sldId id="742" r:id="rId11"/>
    <p:sldId id="744" r:id="rId12"/>
    <p:sldId id="745" r:id="rId13"/>
    <p:sldId id="695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740"/>
            <p14:sldId id="741"/>
            <p14:sldId id="743"/>
            <p14:sldId id="742"/>
            <p14:sldId id="744"/>
            <p14:sldId id="745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833"/>
    <a:srgbClr val="039CD1"/>
    <a:srgbClr val="EB9E2F"/>
    <a:srgbClr val="001440"/>
    <a:srgbClr val="000C26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5" autoAdjust="0"/>
    <p:restoredTop sz="94660"/>
  </p:normalViewPr>
  <p:slideViewPr>
    <p:cSldViewPr snapToGrid="0">
      <p:cViewPr varScale="1">
        <p:scale>
          <a:sx n="65" d="100"/>
          <a:sy n="65" d="100"/>
        </p:scale>
        <p:origin x="73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29-Aug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29-Aug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101326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741143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849200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204745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075408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905779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E4E2B9-ADBD-40B7-BB28-46FFE040B61C}"/>
              </a:ext>
            </a:extLst>
          </p:cNvPr>
          <p:cNvSpPr txBox="1"/>
          <p:nvPr userDrawn="1"/>
        </p:nvSpPr>
        <p:spPr>
          <a:xfrm flipH="1">
            <a:off x="5820012" y="3184575"/>
            <a:ext cx="1390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Partnering</a:t>
            </a:r>
            <a:b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</a:br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Institutions</a:t>
            </a:r>
            <a:endParaRPr lang="en-US" sz="500" b="1" dirty="0">
              <a:solidFill>
                <a:schemeClr val="tx1"/>
              </a:solidFill>
              <a:latin typeface="+mj-lt"/>
              <a:cs typeface="Aharoni" panose="02010803020104030203" pitchFamily="2" charset="-79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0CB8E11-39A4-4E1E-A579-F3F237CFBB48}"/>
              </a:ext>
            </a:extLst>
          </p:cNvPr>
          <p:cNvGrpSpPr/>
          <p:nvPr userDrawn="1"/>
        </p:nvGrpSpPr>
        <p:grpSpPr>
          <a:xfrm>
            <a:off x="7211001" y="0"/>
            <a:ext cx="4980999" cy="6872041"/>
            <a:chOff x="7210999" y="-376519"/>
            <a:chExt cx="4981000" cy="681652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53FEB1D-953F-4AD5-979E-64A2E1BFFAA3}"/>
                </a:ext>
              </a:extLst>
            </p:cNvPr>
            <p:cNvGrpSpPr/>
            <p:nvPr userDrawn="1"/>
          </p:nvGrpSpPr>
          <p:grpSpPr>
            <a:xfrm>
              <a:off x="7210999" y="-376519"/>
              <a:ext cx="4981000" cy="6242350"/>
              <a:chOff x="7210999" y="-19320"/>
              <a:chExt cx="4981000" cy="624235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8A9B711-267A-4825-AFA4-306D33323A56}"/>
                  </a:ext>
                </a:extLst>
              </p:cNvPr>
              <p:cNvPicPr/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956"/>
              <a:stretch/>
            </p:blipFill>
            <p:spPr bwMode="auto">
              <a:xfrm>
                <a:off x="7211001" y="1204009"/>
                <a:ext cx="4980990" cy="501902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DAB62FA-DA2E-47A7-B719-95696644871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596" b="17335"/>
              <a:stretch/>
            </p:blipFill>
            <p:spPr>
              <a:xfrm>
                <a:off x="7210999" y="-19320"/>
                <a:ext cx="4981000" cy="1223329"/>
              </a:xfrm>
              <a:prstGeom prst="rect">
                <a:avLst/>
              </a:prstGeom>
            </p:spPr>
          </p:pic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B7456BD-03D3-41B8-957B-38CB1512A39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92684" t="16179" b="22966"/>
            <a:stretch/>
          </p:blipFill>
          <p:spPr>
            <a:xfrm>
              <a:off x="11818960" y="5850942"/>
              <a:ext cx="364397" cy="58906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57237D6-3BC4-49E6-A079-9EF58A6B1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9710" b="25953"/>
          <a:stretch/>
        </p:blipFill>
        <p:spPr>
          <a:xfrm>
            <a:off x="7210999" y="6276829"/>
            <a:ext cx="4727891" cy="59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29-Aug-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29/08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7027"/>
          <a:stretch/>
        </p:blipFill>
        <p:spPr>
          <a:xfrm>
            <a:off x="48126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29-Aug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5.xml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304A6A-D15B-47E1-B072-1C47E2C76553}"/>
              </a:ext>
            </a:extLst>
          </p:cNvPr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433" y="31710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FCD0C7-445F-4A14-9C86-5CF981271CEE}"/>
              </a:ext>
            </a:extLst>
          </p:cNvPr>
          <p:cNvPicPr/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027" y="18414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C9607DE2-A059-4BE3-9904-5486CE512E28}"/>
              </a:ext>
            </a:extLst>
          </p:cNvPr>
          <p:cNvSpPr txBox="1">
            <a:spLocks/>
          </p:cNvSpPr>
          <p:nvPr/>
        </p:nvSpPr>
        <p:spPr>
          <a:xfrm>
            <a:off x="34416" y="2246669"/>
            <a:ext cx="5530645" cy="165245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solidFill>
                  <a:schemeClr val="bg1"/>
                </a:solidFill>
                <a:latin typeface="Gotham Light" pitchFamily="50" charset="0"/>
              </a:rPr>
              <a:t>Introduction to Machine Learning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2054" y="6233214"/>
            <a:ext cx="11407893" cy="624786"/>
          </a:xfrm>
        </p:spPr>
        <p:txBody>
          <a:bodyPr/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Evaluation Metrics for Classification Models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62;p6">
            <a:extLst>
              <a:ext uri="{FF2B5EF4-FFF2-40B4-BE49-F238E27FC236}">
                <a16:creationId xmlns:a16="http://schemas.microsoft.com/office/drawing/2014/main" id="{6CB9416A-9C76-41E5-A2EB-D1B6F8591E19}"/>
              </a:ext>
            </a:extLst>
          </p:cNvPr>
          <p:cNvSpPr/>
          <p:nvPr/>
        </p:nvSpPr>
        <p:spPr>
          <a:xfrm>
            <a:off x="166694" y="134526"/>
            <a:ext cx="10422647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Evaluation Metrics for Classification Model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D1100-9485-402C-948F-09B70D53946E}"/>
              </a:ext>
            </a:extLst>
          </p:cNvPr>
          <p:cNvSpPr txBox="1"/>
          <p:nvPr/>
        </p:nvSpPr>
        <p:spPr>
          <a:xfrm>
            <a:off x="166694" y="991927"/>
            <a:ext cx="11882738" cy="49244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There are many different metrics for evaluating the performance of classification models and they include:</a:t>
            </a:r>
          </a:p>
          <a:p>
            <a:pPr marL="457200" marR="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 Accuracy</a:t>
            </a:r>
          </a:p>
          <a:p>
            <a:pPr marL="457200" marR="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 Sensitivity</a:t>
            </a:r>
          </a:p>
          <a:p>
            <a:pPr marL="457200" marR="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 Precision</a:t>
            </a:r>
          </a:p>
          <a:p>
            <a:pPr marL="457200" marR="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 F1 score</a:t>
            </a:r>
          </a:p>
          <a:p>
            <a:pPr marL="457200" marR="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 Area under Receiver Operating Characteristics curve (AUC)</a:t>
            </a:r>
          </a:p>
          <a:p>
            <a:pPr marL="0" marR="0" algn="just"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Most of this metrics can be calculated from a confusion matrix.</a:t>
            </a:r>
          </a:p>
        </p:txBody>
      </p:sp>
    </p:spTree>
    <p:extLst>
      <p:ext uri="{BB962C8B-B14F-4D97-AF65-F5344CB8AC3E}">
        <p14:creationId xmlns:p14="http://schemas.microsoft.com/office/powerpoint/2010/main" val="28805574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62;p6">
            <a:extLst>
              <a:ext uri="{FF2B5EF4-FFF2-40B4-BE49-F238E27FC236}">
                <a16:creationId xmlns:a16="http://schemas.microsoft.com/office/drawing/2014/main" id="{6CB9416A-9C76-41E5-A2EB-D1B6F8591E19}"/>
              </a:ext>
            </a:extLst>
          </p:cNvPr>
          <p:cNvSpPr/>
          <p:nvPr/>
        </p:nvSpPr>
        <p:spPr>
          <a:xfrm>
            <a:off x="166694" y="134526"/>
            <a:ext cx="10422647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Confusion Matrix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D1100-9485-402C-948F-09B70D53946E}"/>
              </a:ext>
            </a:extLst>
          </p:cNvPr>
          <p:cNvSpPr txBox="1"/>
          <p:nvPr/>
        </p:nvSpPr>
        <p:spPr>
          <a:xfrm>
            <a:off x="6282813" y="1229010"/>
            <a:ext cx="5737122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spcBef>
                <a:spcPts val="900"/>
              </a:spcBef>
              <a:spcAft>
                <a:spcPts val="900"/>
              </a:spcAft>
            </a:pPr>
            <a:r>
              <a:rPr lang="en-US" sz="32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A confusion matrix is one of the metrics that evaluate the performance of a classifier on a test data. It is a table that allows visualization of the performance of an algorithm. </a:t>
            </a:r>
          </a:p>
        </p:txBody>
      </p:sp>
      <p:pic>
        <p:nvPicPr>
          <p:cNvPr id="4" name="Picture">
            <a:extLst>
              <a:ext uri="{FF2B5EF4-FFF2-40B4-BE49-F238E27FC236}">
                <a16:creationId xmlns:a16="http://schemas.microsoft.com/office/drawing/2014/main" id="{9C04FA3E-580D-4BF2-9B07-A496059BF86A}"/>
              </a:ext>
            </a:extLst>
          </p:cNvPr>
          <p:cNvPicPr/>
          <p:nvPr/>
        </p:nvPicPr>
        <p:blipFill rotWithShape="1">
          <a:blip r:embed="rId3"/>
          <a:srcRect l="2158" t="7191" r="7582"/>
          <a:stretch/>
        </p:blipFill>
        <p:spPr bwMode="auto">
          <a:xfrm>
            <a:off x="0" y="1439897"/>
            <a:ext cx="6096000" cy="2625214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30B9645-869A-4932-8628-B14F931EBD16}"/>
              </a:ext>
            </a:extLst>
          </p:cNvPr>
          <p:cNvSpPr txBox="1"/>
          <p:nvPr/>
        </p:nvSpPr>
        <p:spPr>
          <a:xfrm>
            <a:off x="176981" y="4996407"/>
            <a:ext cx="11842954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dirty="0"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The rows of the confusion matrix represent the actual labels that were contained in the test dataset while the columns represent what the classifier predicted and vice-versa.</a:t>
            </a:r>
          </a:p>
        </p:txBody>
      </p:sp>
    </p:spTree>
    <p:extLst>
      <p:ext uri="{BB962C8B-B14F-4D97-AF65-F5344CB8AC3E}">
        <p14:creationId xmlns:p14="http://schemas.microsoft.com/office/powerpoint/2010/main" val="8599281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62;p6">
            <a:extLst>
              <a:ext uri="{FF2B5EF4-FFF2-40B4-BE49-F238E27FC236}">
                <a16:creationId xmlns:a16="http://schemas.microsoft.com/office/drawing/2014/main" id="{6CB9416A-9C76-41E5-A2EB-D1B6F8591E19}"/>
              </a:ext>
            </a:extLst>
          </p:cNvPr>
          <p:cNvSpPr/>
          <p:nvPr/>
        </p:nvSpPr>
        <p:spPr>
          <a:xfrm>
            <a:off x="166694" y="134526"/>
            <a:ext cx="10422647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Terms used in confusion matrix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D1100-9485-402C-948F-09B70D53946E}"/>
              </a:ext>
            </a:extLst>
          </p:cNvPr>
          <p:cNvSpPr txBox="1"/>
          <p:nvPr/>
        </p:nvSpPr>
        <p:spPr>
          <a:xfrm>
            <a:off x="226142" y="2167116"/>
            <a:ext cx="11739716" cy="25237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spcBef>
                <a:spcPts val="900"/>
              </a:spcBef>
              <a:spcAft>
                <a:spcPts val="900"/>
              </a:spcAft>
            </a:pPr>
            <a:r>
              <a:rPr lang="en-US" sz="32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The following are the terms commonly used in confusion matrix. Here we are referring to diabetics’ scenario.</a:t>
            </a:r>
          </a:p>
          <a:p>
            <a:pPr marL="457200" marR="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32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 Positive (1): Presence of diabetics</a:t>
            </a:r>
          </a:p>
          <a:p>
            <a:pPr marL="457200" marR="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32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 Negative (0): Absence of diabetics</a:t>
            </a:r>
          </a:p>
        </p:txBody>
      </p:sp>
    </p:spTree>
    <p:extLst>
      <p:ext uri="{BB962C8B-B14F-4D97-AF65-F5344CB8AC3E}">
        <p14:creationId xmlns:p14="http://schemas.microsoft.com/office/powerpoint/2010/main" val="39960771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62;p6">
            <a:extLst>
              <a:ext uri="{FF2B5EF4-FFF2-40B4-BE49-F238E27FC236}">
                <a16:creationId xmlns:a16="http://schemas.microsoft.com/office/drawing/2014/main" id="{6CB9416A-9C76-41E5-A2EB-D1B6F8591E19}"/>
              </a:ext>
            </a:extLst>
          </p:cNvPr>
          <p:cNvSpPr/>
          <p:nvPr/>
        </p:nvSpPr>
        <p:spPr>
          <a:xfrm>
            <a:off x="166694" y="134526"/>
            <a:ext cx="10422647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Concept in Confusion Matrix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D1100-9485-402C-948F-09B70D53946E}"/>
              </a:ext>
            </a:extLst>
          </p:cNvPr>
          <p:cNvSpPr txBox="1"/>
          <p:nvPr/>
        </p:nvSpPr>
        <p:spPr>
          <a:xfrm>
            <a:off x="226142" y="1268362"/>
            <a:ext cx="11739716" cy="47243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32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True Positive (TP): The patient is diabetic, and the classifier predicted it as diabetic</a:t>
            </a:r>
          </a:p>
          <a:p>
            <a:pPr marL="457200" marR="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32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False Positive (FP): The patient is not diabetic, and the classifier predicted it as diabetic. This is known as Type I error.</a:t>
            </a:r>
          </a:p>
          <a:p>
            <a:pPr marL="457200" marR="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32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True Negative (TN): The patient is not diabetic, and the classifier predicted it as not diabetic</a:t>
            </a:r>
          </a:p>
          <a:p>
            <a:pPr marL="457200" marR="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32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False Negative (FN): The patient is diabetic, and the classifier predicted it as not diabetic</a:t>
            </a:r>
          </a:p>
        </p:txBody>
      </p:sp>
    </p:spTree>
    <p:extLst>
      <p:ext uri="{BB962C8B-B14F-4D97-AF65-F5344CB8AC3E}">
        <p14:creationId xmlns:p14="http://schemas.microsoft.com/office/powerpoint/2010/main" val="4575058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62;p6">
            <a:extLst>
              <a:ext uri="{FF2B5EF4-FFF2-40B4-BE49-F238E27FC236}">
                <a16:creationId xmlns:a16="http://schemas.microsoft.com/office/drawing/2014/main" id="{6CB9416A-9C76-41E5-A2EB-D1B6F8591E19}"/>
              </a:ext>
            </a:extLst>
          </p:cNvPr>
          <p:cNvSpPr/>
          <p:nvPr/>
        </p:nvSpPr>
        <p:spPr>
          <a:xfrm>
            <a:off x="166694" y="134526"/>
            <a:ext cx="10422647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Concept in Confusion Matrix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D1100-9485-402C-948F-09B70D53946E}"/>
              </a:ext>
            </a:extLst>
          </p:cNvPr>
          <p:cNvSpPr txBox="1"/>
          <p:nvPr/>
        </p:nvSpPr>
        <p:spPr>
          <a:xfrm>
            <a:off x="226142" y="1268362"/>
            <a:ext cx="1173971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A typical example of a confusion matrix using Logistic regression classier on diabetics’ dataset is shown below: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">
            <a:extLst>
              <a:ext uri="{FF2B5EF4-FFF2-40B4-BE49-F238E27FC236}">
                <a16:creationId xmlns:a16="http://schemas.microsoft.com/office/drawing/2014/main" id="{6BC9AC7F-9DF7-487D-91DE-D04855A571C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 bwMode="auto">
          <a:xfrm>
            <a:off x="870154" y="2923255"/>
            <a:ext cx="9984658" cy="3118055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553138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62;p6">
            <a:extLst>
              <a:ext uri="{FF2B5EF4-FFF2-40B4-BE49-F238E27FC236}">
                <a16:creationId xmlns:a16="http://schemas.microsoft.com/office/drawing/2014/main" id="{6CB9416A-9C76-41E5-A2EB-D1B6F8591E19}"/>
              </a:ext>
            </a:extLst>
          </p:cNvPr>
          <p:cNvSpPr/>
          <p:nvPr/>
        </p:nvSpPr>
        <p:spPr>
          <a:xfrm>
            <a:off x="166694" y="134526"/>
            <a:ext cx="10422647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Performance evaluation metrics of a classification mod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D1100-9485-402C-948F-09B70D53946E}"/>
              </a:ext>
            </a:extLst>
          </p:cNvPr>
          <p:cNvSpPr txBox="1"/>
          <p:nvPr/>
        </p:nvSpPr>
        <p:spPr>
          <a:xfrm>
            <a:off x="226142" y="1799304"/>
            <a:ext cx="11739716" cy="3016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32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The statistical measure of the performance of a given binary classifier can be evaluated using accuracy, sensitivity, and specificity.</a:t>
            </a:r>
          </a:p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3200" b="1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Accuracy or Classification Rate</a:t>
            </a:r>
            <a:endParaRPr lang="en-US" sz="3200" b="1" dirty="0">
              <a:latin typeface="+mj-lt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32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Accuracy of any given classifier is the ratio of what classifier predicted correctly over the total number of predictions.</a:t>
            </a:r>
          </a:p>
        </p:txBody>
      </p:sp>
    </p:spTree>
    <p:extLst>
      <p:ext uri="{BB962C8B-B14F-4D97-AF65-F5344CB8AC3E}">
        <p14:creationId xmlns:p14="http://schemas.microsoft.com/office/powerpoint/2010/main" val="21120945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3C5115E-CD3F-43DC-8219-13AC7387CE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8996" y="1132297"/>
            <a:ext cx="6934200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95</TotalTime>
  <Words>327</Words>
  <Application>Microsoft Office PowerPoint</Application>
  <PresentationFormat>Widescreen</PresentationFormat>
  <Paragraphs>28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Arial</vt:lpstr>
      <vt:lpstr>Calibri</vt:lpstr>
      <vt:lpstr>Calibri Light</vt:lpstr>
      <vt:lpstr>Gotham Light</vt:lpstr>
      <vt:lpstr>Lato Light</vt:lpstr>
      <vt:lpstr>Wingdings</vt:lpstr>
      <vt:lpstr>1_Office Theme</vt:lpstr>
      <vt:lpstr>2_Office Theme</vt:lpstr>
      <vt:lpstr>think-cell Slide</vt:lpstr>
      <vt:lpstr>PowerPoint Presentation</vt:lpstr>
      <vt:lpstr>Evaluation Metrics for Classification Model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55</cp:revision>
  <dcterms:created xsi:type="dcterms:W3CDTF">2020-03-16T19:15:12Z</dcterms:created>
  <dcterms:modified xsi:type="dcterms:W3CDTF">2021-08-29T21:2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